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4"/>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int Comparison Analysis by Product Scraped" id="{CF329677-8204-4173-B4CF-06BA90C46046}">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Lst>
        </p14:section>
        <p14:section name="Price Point Comparison Analysis by Manuf Scraped" id="{4D5F2408-144B-4BCC-A6D7-28D49D89BA5B}">
          <p14:sldIdLst>
            <p14:sldId id="2147477379"/>
            <p14:sldId id="2147477380"/>
            <p14:sldId id="2147477381"/>
            <p14:sldId id="2147477382"/>
            <p14:sldId id="2147477383"/>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2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7/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515250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915315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250002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472657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014060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112228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480439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293214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089445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205599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884515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781381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964930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6534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6320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763950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887464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863506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7/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12298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42</TotalTime>
  <Words>2774</Words>
  <Application>Microsoft Office PowerPoint</Application>
  <PresentationFormat>On-screen Show (16:9)</PresentationFormat>
  <Paragraphs>1406</Paragraphs>
  <Slides>19</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Aptos</vt:lpstr>
      <vt:lpstr>Arial</vt:lpstr>
      <vt:lpstr>Nexa</vt:lpstr>
      <vt:lpstr>Nexa Bold</vt:lpstr>
      <vt:lpstr>Nexa Book</vt:lpstr>
      <vt:lpstr>Nexa Book Italic</vt:lpstr>
      <vt:lpstr>Open Sans</vt:lpstr>
      <vt:lpstr>PricingOne Light Template Oct 2024</vt:lpstr>
      <vt:lpstr>think-cell Slide</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7-27T14:2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